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3" r:id="rId4"/>
  </p:sldMasterIdLst>
  <p:notesMasterIdLst>
    <p:notesMasterId r:id="rId6"/>
  </p:notesMasterIdLst>
  <p:sldIdLst>
    <p:sldId id="257" r:id="rId5"/>
  </p:sldIdLst>
  <p:sldSz cx="24384000" cy="13716000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680" userDrawn="1">
          <p15:clr>
            <a:srgbClr val="A4A3A4"/>
          </p15:clr>
        </p15:guide>
        <p15:guide id="2" orient="horz" pos="432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0AD9400-DDAB-228B-D2C0-71E20B797DF1}" name="Milena Kunz | FolienWerke GmbH" initials="MK|FG" userId="S::milena@folienwerke.ch::6368de57-fb2f-4713-9073-9556af846cf5" providerId="AD"/>
  <p188:author id="{22B18A46-A0D8-CCBE-0760-A08BA3A267DD}" name="Krauss Astrid HSLU" initials="KAH" userId="S::astrid.krauss@hslu.ch::05774647-534d-4e7b-bf42-e02b76d28550" providerId="AD"/>
  <p188:author id="{58412792-B17C-5C03-55E9-3560B444D1AD}" name="Amenda Ina HSLU" initials="AH" userId="S::ina.amenda@hslu.ch::f76260df-1f8e-4a68-90ac-20db44d17eb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C5D8"/>
    <a:srgbClr val="F6A9B2"/>
    <a:srgbClr val="BB365D"/>
    <a:srgbClr val="FFE086"/>
    <a:srgbClr val="F7A315"/>
    <a:srgbClr val="BAE0EA"/>
    <a:srgbClr val="449DC2"/>
    <a:srgbClr val="DAEEF3"/>
    <a:srgbClr val="FBD0D3"/>
    <a:srgbClr val="FFF0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66" d="100"/>
          <a:sy n="66" d="100"/>
        </p:scale>
        <p:origin x="48" y="-654"/>
      </p:cViewPr>
      <p:guideLst>
        <p:guide pos="7680"/>
        <p:guide orient="horz" pos="432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0A2682-9BBE-44F1-865A-71E92CD2A545}" type="datetimeFigureOut">
              <a:rPr lang="en-US" smtClean="0"/>
              <a:t>4/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CCBD9D-9EF3-4CA3-8346-68DA1B2B2DC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88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44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88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32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76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20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4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8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52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A944C8-B4A4-4B5C-B8AC-C23CDC6097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6D54923-F85E-41EF-AB63-399B4A52A6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DE"/>
              <a:t>Master-Un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135642C-6568-482B-9D63-222AF4D8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8B734-CF96-4DA8-8FEB-5842A15A5717}" type="datetimeFigureOut">
              <a:rPr lang="de-CH" smtClean="0"/>
              <a:t>05.04.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2CF2726-2A20-4C7B-9FFF-495967C894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029243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mit Bild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>
            <a:extLst>
              <a:ext uri="{FF2B5EF4-FFF2-40B4-BE49-F238E27FC236}">
                <a16:creationId xmlns:a16="http://schemas.microsoft.com/office/drawing/2014/main" id="{9B9F577F-F0A9-4853-B77C-37B3AAE0FD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143850" y="0"/>
            <a:ext cx="12240150" cy="120343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3DD274-0081-4267-A5E5-76A5876FE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62242C-68A4-4C12-BAA6-D3AA7375B026}" type="datetime4">
              <a:rPr lang="de-CH" smtClean="0"/>
              <a:t>5. April 2023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C8127D-E9F8-4681-B43F-B6F3E3216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3301" y="3651250"/>
            <a:ext cx="10168128" cy="870267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r>
              <a:rPr lang="de-CH" dirty="0"/>
              <a:t>, sed </a:t>
            </a:r>
            <a:r>
              <a:rPr lang="de-CH" dirty="0" err="1"/>
              <a:t>diam</a:t>
            </a:r>
            <a:r>
              <a:rPr lang="de-CH" dirty="0"/>
              <a:t> </a:t>
            </a:r>
            <a:r>
              <a:rPr lang="de-CH" dirty="0" err="1"/>
              <a:t>nonumy</a:t>
            </a:r>
            <a:r>
              <a:rPr lang="de-CH" dirty="0"/>
              <a:t> </a:t>
            </a:r>
            <a:r>
              <a:rPr lang="de-CH" dirty="0" err="1"/>
              <a:t>eirmod</a:t>
            </a:r>
            <a:r>
              <a:rPr lang="de-CH" dirty="0"/>
              <a:t> </a:t>
            </a:r>
            <a:r>
              <a:rPr lang="de-CH" dirty="0" err="1"/>
              <a:t>tempor</a:t>
            </a:r>
            <a:r>
              <a:rPr lang="de-CH" dirty="0"/>
              <a:t> </a:t>
            </a:r>
            <a:r>
              <a:rPr lang="de-CH" dirty="0" err="1"/>
              <a:t>invidunt</a:t>
            </a:r>
            <a:r>
              <a:rPr lang="de-CH" dirty="0"/>
              <a:t> </a:t>
            </a:r>
            <a:r>
              <a:rPr lang="de-CH" dirty="0" err="1"/>
              <a:t>ut</a:t>
            </a:r>
            <a:r>
              <a:rPr lang="de-CH" dirty="0"/>
              <a:t> </a:t>
            </a:r>
            <a:r>
              <a:rPr lang="de-CH" dirty="0" err="1"/>
              <a:t>labore</a:t>
            </a:r>
            <a:r>
              <a:rPr lang="de-CH" dirty="0"/>
              <a:t> et </a:t>
            </a:r>
            <a:r>
              <a:rPr lang="de-CH" dirty="0" err="1"/>
              <a:t>dolore</a:t>
            </a:r>
            <a:r>
              <a:rPr lang="de-CH" dirty="0"/>
              <a:t> magna </a:t>
            </a:r>
            <a:r>
              <a:rPr lang="de-CH" dirty="0" err="1"/>
              <a:t>aliquyam</a:t>
            </a:r>
            <a:r>
              <a:rPr lang="de-CH" dirty="0"/>
              <a:t> erat, sed </a:t>
            </a:r>
            <a:r>
              <a:rPr lang="de-CH" dirty="0" err="1"/>
              <a:t>diam</a:t>
            </a:r>
            <a:r>
              <a:rPr lang="de-CH" dirty="0"/>
              <a:t> </a:t>
            </a:r>
            <a:r>
              <a:rPr lang="de-CH" dirty="0" err="1"/>
              <a:t>voluptua</a:t>
            </a:r>
            <a:r>
              <a:rPr lang="de-CH" dirty="0"/>
              <a:t>. At </a:t>
            </a:r>
            <a:r>
              <a:rPr lang="de-CH" dirty="0" err="1"/>
              <a:t>vero</a:t>
            </a:r>
            <a:r>
              <a:rPr lang="de-CH" dirty="0"/>
              <a:t> </a:t>
            </a:r>
            <a:r>
              <a:rPr lang="de-CH" dirty="0" err="1"/>
              <a:t>eos</a:t>
            </a:r>
            <a:r>
              <a:rPr lang="de-CH" dirty="0"/>
              <a:t> et </a:t>
            </a:r>
            <a:r>
              <a:rPr lang="de-CH" dirty="0" err="1"/>
              <a:t>accusam</a:t>
            </a:r>
            <a:r>
              <a:rPr lang="de-CH" dirty="0"/>
              <a:t> et </a:t>
            </a:r>
            <a:r>
              <a:rPr lang="de-CH" dirty="0" err="1"/>
              <a:t>justo</a:t>
            </a:r>
            <a:r>
              <a:rPr lang="de-CH" dirty="0"/>
              <a:t> </a:t>
            </a:r>
            <a:r>
              <a:rPr lang="de-CH" dirty="0" err="1"/>
              <a:t>duo</a:t>
            </a:r>
            <a:r>
              <a:rPr lang="de-CH" dirty="0"/>
              <a:t> </a:t>
            </a:r>
            <a:r>
              <a:rPr lang="de-CH" dirty="0" err="1"/>
              <a:t>dolores</a:t>
            </a:r>
            <a:r>
              <a:rPr lang="de-CH" dirty="0"/>
              <a:t> et </a:t>
            </a:r>
            <a:r>
              <a:rPr lang="de-CH" dirty="0" err="1"/>
              <a:t>ea</a:t>
            </a:r>
            <a:r>
              <a:rPr lang="de-CH" dirty="0"/>
              <a:t> </a:t>
            </a:r>
            <a:r>
              <a:rPr lang="de-CH" dirty="0" err="1"/>
              <a:t>rebum</a:t>
            </a:r>
            <a:r>
              <a:rPr lang="de-CH" dirty="0"/>
              <a:t>.</a:t>
            </a:r>
          </a:p>
          <a:p>
            <a:endParaRPr lang="de-CH" dirty="0"/>
          </a:p>
          <a:p>
            <a:pPr lvl="1"/>
            <a:r>
              <a:rPr lang="de-CH" dirty="0" err="1"/>
              <a:t>Bulletpoint</a:t>
            </a:r>
            <a:r>
              <a:rPr lang="de-CH" dirty="0"/>
              <a:t> 1: </a:t>
            </a:r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endParaRPr lang="de-CH" dirty="0"/>
          </a:p>
          <a:p>
            <a:pPr lvl="1"/>
            <a:r>
              <a:rPr lang="de-CH" dirty="0" err="1"/>
              <a:t>Bulletpoint</a:t>
            </a:r>
            <a:r>
              <a:rPr lang="de-CH" dirty="0"/>
              <a:t> 1: </a:t>
            </a:r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endParaRPr lang="de-CH" dirty="0"/>
          </a:p>
          <a:p>
            <a:pPr lvl="1"/>
            <a:r>
              <a:rPr lang="de-CH" dirty="0" err="1"/>
              <a:t>Bulletpoint</a:t>
            </a:r>
            <a:r>
              <a:rPr lang="de-CH" dirty="0"/>
              <a:t> 1: </a:t>
            </a:r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endParaRPr lang="de-CH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1228367-2148-4750-BB4A-02D50820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10168128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A9EFD834-77D5-48F1-B0FA-A2154B6EEA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/>
              <a:t>Seite </a:t>
            </a:r>
            <a:fld id="{86B585F8-2033-43C0-8CDE-307184B088E2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80622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mit 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3DD274-0081-4267-A5E5-76A5876FE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8D182F-70B1-4740-98DE-36A0D400C0DB}" type="datetime4">
              <a:rPr lang="de-CH" smtClean="0"/>
              <a:t>5. April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23669B-0DDB-4583-AD51-9435F83FB8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eite ‹Nr.›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C8127D-E9F8-4681-B43F-B6F3E3216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3301" y="3651250"/>
            <a:ext cx="8578849" cy="870267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err="1"/>
              <a:t>Textebene</a:t>
            </a:r>
            <a:r>
              <a:rPr lang="en-US"/>
              <a:t> (Level 1)</a:t>
            </a:r>
          </a:p>
          <a:p>
            <a:pPr lvl="1"/>
            <a:r>
              <a:rPr lang="de-CH" noProof="0"/>
              <a:t>Erste Aufzählungsebene (Level 2)</a:t>
            </a:r>
            <a:endParaRPr lang="en-US"/>
          </a:p>
          <a:p>
            <a:pPr lvl="2"/>
            <a:r>
              <a:rPr lang="de-CH" noProof="0"/>
              <a:t>Zweite Aufzählungsebene (Level 3)</a:t>
            </a:r>
            <a:endParaRPr lang="en-US"/>
          </a:p>
          <a:p>
            <a:pPr lvl="3"/>
            <a:r>
              <a:rPr lang="de-CH" noProof="0"/>
              <a:t>Textüberschrift (Level 4)</a:t>
            </a:r>
            <a:endParaRPr lang="en-US"/>
          </a:p>
          <a:p>
            <a:pPr lvl="4"/>
            <a:r>
              <a:rPr lang="de-CH" noProof="0"/>
              <a:t>Kleinere Textebene, 24pt (Level 5)</a:t>
            </a:r>
            <a:endParaRPr lang="en-US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657A9C58-342D-4D2E-A65C-FD7EA89C51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103562" y="3412066"/>
            <a:ext cx="14280438" cy="1030393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928EF62-FB75-4E1F-8AA9-487AA4A774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8578849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</p:spTree>
    <p:extLst>
      <p:ext uri="{BB962C8B-B14F-4D97-AF65-F5344CB8AC3E}">
        <p14:creationId xmlns:p14="http://schemas.microsoft.com/office/powerpoint/2010/main" val="40434214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89D196-AE26-49F9-B103-78D647A715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285974-9671-41BE-9B3E-C1E52CCE6CE5}" type="datetime4">
              <a:rPr lang="de-CH" smtClean="0"/>
              <a:t>5. April 2023</a:t>
            </a:fld>
            <a:endParaRPr lang="en-US"/>
          </a:p>
        </p:txBody>
      </p:sp>
      <p:sp>
        <p:nvSpPr>
          <p:cNvPr id="7" name="Picture Placeholder 16">
            <a:extLst>
              <a:ext uri="{FF2B5EF4-FFF2-40B4-BE49-F238E27FC236}">
                <a16:creationId xmlns:a16="http://schemas.microsoft.com/office/drawing/2014/main" id="{A5DDA2B4-AD70-401C-9C49-03B19A37975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0351894" cy="120169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8" name="Text Placeholder 26">
            <a:extLst>
              <a:ext uri="{FF2B5EF4-FFF2-40B4-BE49-F238E27FC236}">
                <a16:creationId xmlns:a16="http://schemas.microsoft.com/office/drawing/2014/main" id="{4E33B494-B393-4D3A-A2AE-7BF9C06D84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516850" y="11016809"/>
            <a:ext cx="2870200" cy="100012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879B38E-85FA-4795-80DA-3180FC1123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/>
              <a:t>Seite </a:t>
            </a:r>
            <a:fld id="{86B585F8-2033-43C0-8CDE-307184B088E2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117936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nk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3DBD525-8EB4-4EDB-93B2-A7F92EDA8A5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7"/>
            <a:ext cx="10176561" cy="188661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/>
              <a:t>Danke!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D267BF8-58C3-441D-8030-CC059B9311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1C22609-9B3C-4D04-9E70-7FFB7B5478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94D58AAA-8FE0-4D8B-8CAF-FCA7E91602A7}" type="datetime4">
              <a:rPr lang="de-CH" smtClean="0"/>
              <a:t>5. April 2023</a:t>
            </a:fld>
            <a:endParaRPr lang="en-US"/>
          </a:p>
        </p:txBody>
      </p:sp>
      <p:pic>
        <p:nvPicPr>
          <p:cNvPr id="11" name="Bild" descr="Bild">
            <a:extLst>
              <a:ext uri="{FF2B5EF4-FFF2-40B4-BE49-F238E27FC236}">
                <a16:creationId xmlns:a16="http://schemas.microsoft.com/office/drawing/2014/main" id="{1170F23D-36BD-4313-B16F-31E325E7BF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958BBD7-D13A-4F05-BDE6-4913441808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/>
              <a:t>Seite </a:t>
            </a:r>
            <a:fld id="{86B585F8-2033-43C0-8CDE-307184B088E2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10" name="Graphic 6">
            <a:extLst>
              <a:ext uri="{FF2B5EF4-FFF2-40B4-BE49-F238E27FC236}">
                <a16:creationId xmlns:a16="http://schemas.microsoft.com/office/drawing/2014/main" id="{FFBDE042-05D0-4E4E-B0B9-E07A21849D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pic>
        <p:nvPicPr>
          <p:cNvPr id="12" name="Bild" descr="Bild">
            <a:extLst>
              <a:ext uri="{FF2B5EF4-FFF2-40B4-BE49-F238E27FC236}">
                <a16:creationId xmlns:a16="http://schemas.microsoft.com/office/drawing/2014/main" id="{F0B61CA8-E57A-43C2-96E8-953244B93EB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747908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A6B4D469-382F-4868-A7AE-CA74C7F1A268}" type="datetime4">
              <a:rPr lang="de-CH" noProof="0" smtClean="0"/>
              <a:t>5. April 2023</a:t>
            </a:fld>
            <a:endParaRPr lang="de-CH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9F73D3-61DF-487A-A095-9ABE52E7CFA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3651250"/>
            <a:ext cx="22380918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D59327-8DF3-4838-BF12-61EBE9590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985C2AF-8F12-421F-84F6-DDB7E21BD6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/>
              <a:t>Seite </a:t>
            </a:r>
            <a:fld id="{86B585F8-2033-43C0-8CDE-307184B088E2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854610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 dirty="0"/>
              <a:t>Untertitel über eine oder mehrere Zeilen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86CDA308-BFF4-4FDC-AADD-983E46A9C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AC36C166-46E8-448B-B1BB-A601AB5A282F}" type="datetime4">
              <a:rPr lang="de-CH" smtClean="0"/>
              <a:t>5. April 2023</a:t>
            </a:fld>
            <a:endParaRPr lang="en-US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CF8B39FE-F082-41ED-AC68-B14657D0BE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noFill/>
              </a:defRPr>
            </a:lvl1pPr>
          </a:lstStyle>
          <a:p>
            <a:r>
              <a:rPr lang="de-DE"/>
              <a:t>Seite ‹Nr.›</a:t>
            </a:r>
          </a:p>
        </p:txBody>
      </p:sp>
      <p:sp>
        <p:nvSpPr>
          <p:cNvPr id="27" name="DN|PlaceholderInline">
            <a:extLst>
              <a:ext uri="{FF2B5EF4-FFF2-40B4-BE49-F238E27FC236}">
                <a16:creationId xmlns:a16="http://schemas.microsoft.com/office/drawing/2014/main" id="{85235B01-FE68-449D-97FD-66925BB567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0176561" cy="91613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/>
            </a:lvl1pPr>
          </a:lstStyle>
          <a:p>
            <a:pPr lvl="0"/>
            <a:endParaRPr dirty="0"/>
          </a:p>
        </p:txBody>
      </p:sp>
      <p:pic>
        <p:nvPicPr>
          <p:cNvPr id="24" name="Bild" descr="Bild">
            <a:extLst>
              <a:ext uri="{FF2B5EF4-FFF2-40B4-BE49-F238E27FC236}">
                <a16:creationId xmlns:a16="http://schemas.microsoft.com/office/drawing/2014/main" id="{DB676377-ABEC-4BEB-A623-F63C2CDA33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B18995A-21ED-4742-86FC-8BB97CB293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pic>
        <p:nvPicPr>
          <p:cNvPr id="12" name="Graphic 9">
            <a:extLst>
              <a:ext uri="{FF2B5EF4-FFF2-40B4-BE49-F238E27FC236}">
                <a16:creationId xmlns:a16="http://schemas.microsoft.com/office/drawing/2014/main" id="{3E48484E-D849-4CA6-896F-66B0DEAC29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pic>
        <p:nvPicPr>
          <p:cNvPr id="13" name="Bild" descr="Bild">
            <a:extLst>
              <a:ext uri="{FF2B5EF4-FFF2-40B4-BE49-F238E27FC236}">
                <a16:creationId xmlns:a16="http://schemas.microsoft.com/office/drawing/2014/main" id="{108B9D2F-F191-4D81-A7FA-45CEAB55BFD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Bildplatzhalter 4">
            <a:extLst>
              <a:ext uri="{FF2B5EF4-FFF2-40B4-BE49-F238E27FC236}">
                <a16:creationId xmlns:a16="http://schemas.microsoft.com/office/drawing/2014/main" id="{089BEE7A-2EC4-409C-94A6-38F214F28EA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203363" y="1485900"/>
            <a:ext cx="10180637" cy="122301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F0BAE347-46AE-4F09-9CA3-C78748C4B829}"/>
              </a:ext>
            </a:extLst>
          </p:cNvPr>
          <p:cNvSpPr txBox="1">
            <a:spLocks/>
          </p:cNvSpPr>
          <p:nvPr userDrawn="1"/>
        </p:nvSpPr>
        <p:spPr>
          <a:xfrm>
            <a:off x="1003300" y="11374943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5. April 2023</a:t>
            </a:fld>
            <a:endParaRPr lang="en-US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99645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10E1B4C-3036-49EB-A887-FC02E8B5F0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258E80CA-A522-4C26-8CC5-0172AEE5559F}" type="datetime4">
              <a:rPr lang="de-CH" smtClean="0"/>
              <a:t>5. April 2023</a:t>
            </a:fld>
            <a:endParaRPr lang="en-US"/>
          </a:p>
        </p:txBody>
      </p:sp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91A1E4F9-D2EB-417B-ABA1-D8FBB972DE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1502E79F-F928-4FF1-826D-3040EE940C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2366D33-6B6D-4D08-B2D6-4DB31ED8B4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 dirty="0"/>
              <a:t>Untertitel über eine oder mehrere Zeilen</a:t>
            </a:r>
          </a:p>
        </p:txBody>
      </p:sp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A38F6540-9BDF-4E92-8F7E-9B2E89A110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0176561" cy="91613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/>
            </a:lvl1pPr>
          </a:lstStyle>
          <a:p>
            <a:pPr lvl="0"/>
            <a:endParaRPr/>
          </a:p>
        </p:txBody>
      </p:sp>
      <p:pic>
        <p:nvPicPr>
          <p:cNvPr id="13" name="Graphic 9">
            <a:extLst>
              <a:ext uri="{FF2B5EF4-FFF2-40B4-BE49-F238E27FC236}">
                <a16:creationId xmlns:a16="http://schemas.microsoft.com/office/drawing/2014/main" id="{B9B0B937-82B5-472B-BAB1-9702093540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pic>
        <p:nvPicPr>
          <p:cNvPr id="15" name="Bild" descr="Bild">
            <a:extLst>
              <a:ext uri="{FF2B5EF4-FFF2-40B4-BE49-F238E27FC236}">
                <a16:creationId xmlns:a16="http://schemas.microsoft.com/office/drawing/2014/main" id="{EB1A2C04-F5F2-478D-8E31-AA690A9A445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Bildplatzhalter 3">
            <a:extLst>
              <a:ext uri="{FF2B5EF4-FFF2-40B4-BE49-F238E27FC236}">
                <a16:creationId xmlns:a16="http://schemas.microsoft.com/office/drawing/2014/main" id="{DC3FC750-0C3E-4F07-AAB6-27D1BB2D8E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187501" y="0"/>
            <a:ext cx="12196499" cy="1203405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7BB94B53-A099-4407-8CEF-04EC9B9967B9}"/>
              </a:ext>
            </a:extLst>
          </p:cNvPr>
          <p:cNvSpPr txBox="1">
            <a:spLocks/>
          </p:cNvSpPr>
          <p:nvPr userDrawn="1"/>
        </p:nvSpPr>
        <p:spPr>
          <a:xfrm>
            <a:off x="1003300" y="11374943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5. April 2023</a:t>
            </a:fld>
            <a:endParaRPr lang="en-US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801684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6A649F68-C7BE-4259-BF2D-4A9F666E26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FC9FBF27-057E-46CD-9490-4DA5B71A1ED9}" type="datetime4">
              <a:rPr lang="de-CH" smtClean="0"/>
              <a:t>5. April 2023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E95AFAE-55E5-478D-A95E-879A15677A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noFill/>
              </a:defRPr>
            </a:lvl1pPr>
          </a:lstStyle>
          <a:p>
            <a:r>
              <a:rPr lang="en-US"/>
              <a:t>Seite ‹Nr.›</a:t>
            </a:r>
          </a:p>
        </p:txBody>
      </p:sp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51250317-DAE9-4E04-800E-141E77359E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6C1D0D-F2DD-42E2-A95A-04D30C0423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8691695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6E88974-0312-4EF7-957A-C28F7C1FF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 dirty="0"/>
              <a:t>Untertitel über eine oder mehrere Zeilen</a:t>
            </a:r>
          </a:p>
        </p:txBody>
      </p:sp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7873E0FA-F6D9-40EB-9F38-61E3ADBA89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8691695" cy="91613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/>
            </a:lvl1pPr>
          </a:lstStyle>
          <a:p>
            <a:pPr lvl="0"/>
            <a:endParaRPr/>
          </a:p>
        </p:txBody>
      </p:sp>
      <p:pic>
        <p:nvPicPr>
          <p:cNvPr id="15" name="Graphic 9">
            <a:extLst>
              <a:ext uri="{FF2B5EF4-FFF2-40B4-BE49-F238E27FC236}">
                <a16:creationId xmlns:a16="http://schemas.microsoft.com/office/drawing/2014/main" id="{9A3D5286-5C5E-4C47-9C9C-4989CFFC7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pic>
        <p:nvPicPr>
          <p:cNvPr id="18" name="Bild" descr="Bild">
            <a:extLst>
              <a:ext uri="{FF2B5EF4-FFF2-40B4-BE49-F238E27FC236}">
                <a16:creationId xmlns:a16="http://schemas.microsoft.com/office/drawing/2014/main" id="{DEEACA2A-3411-4C48-9FDA-E77CF48B532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69CEC82-BA25-48C9-91AD-7DD5FE69A0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117137" y="3411538"/>
            <a:ext cx="14266863" cy="1030446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0EFBC912-62B0-4D2D-863C-92B434738BB1}"/>
              </a:ext>
            </a:extLst>
          </p:cNvPr>
          <p:cNvSpPr txBox="1">
            <a:spLocks/>
          </p:cNvSpPr>
          <p:nvPr userDrawn="1"/>
        </p:nvSpPr>
        <p:spPr>
          <a:xfrm>
            <a:off x="1003300" y="11374943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5. April 2023</a:t>
            </a:fld>
            <a:endParaRPr lang="en-US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01260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ohne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6A649F68-C7BE-4259-BF2D-4A9F666E26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E54CAAE1-BB04-46CE-B386-385CBDFC7345}" type="datetime4">
              <a:rPr lang="de-CH" smtClean="0"/>
              <a:t>5. April 2023</a:t>
            </a:fld>
            <a:endParaRPr lang="en-US"/>
          </a:p>
        </p:txBody>
      </p:sp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51250317-DAE9-4E04-800E-141E77359E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6C1D0D-F2DD-42E2-A95A-04D30C0423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6" y="3099816"/>
            <a:ext cx="11186826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6E88974-0312-4EF7-957A-C28F7C1FF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1118870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 dirty="0"/>
              <a:t>Untertitel über eine oder mehrere Zeilen</a:t>
            </a:r>
          </a:p>
        </p:txBody>
      </p:sp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5039B751-2552-423C-BEA3-631B1B02EE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0176561" cy="91613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/>
            </a:lvl1pPr>
          </a:lstStyle>
          <a:p>
            <a:pPr lvl="0"/>
            <a:endParaRPr/>
          </a:p>
        </p:txBody>
      </p:sp>
      <p:pic>
        <p:nvPicPr>
          <p:cNvPr id="9" name="Graphic 9">
            <a:extLst>
              <a:ext uri="{FF2B5EF4-FFF2-40B4-BE49-F238E27FC236}">
                <a16:creationId xmlns:a16="http://schemas.microsoft.com/office/drawing/2014/main" id="{D393E830-306B-4771-9542-5664AA313E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pic>
        <p:nvPicPr>
          <p:cNvPr id="13" name="Bild" descr="Bild">
            <a:extLst>
              <a:ext uri="{FF2B5EF4-FFF2-40B4-BE49-F238E27FC236}">
                <a16:creationId xmlns:a16="http://schemas.microsoft.com/office/drawing/2014/main" id="{A3145BDC-5E60-4C6D-A6E6-C9342D53183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1F5BBAAE-07D7-4371-A01A-9EC9B9384F4F}"/>
              </a:ext>
            </a:extLst>
          </p:cNvPr>
          <p:cNvSpPr txBox="1">
            <a:spLocks/>
          </p:cNvSpPr>
          <p:nvPr userDrawn="1"/>
        </p:nvSpPr>
        <p:spPr>
          <a:xfrm>
            <a:off x="1003300" y="11374943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5C3F4A-304C-41A2-9099-E95CFD4F49DD}" type="datetime4">
              <a:rPr lang="de-CH" sz="2000" smtClean="0">
                <a:latin typeface="+mn-lt"/>
              </a:rPr>
              <a:pPr/>
              <a:t>5. April 2023</a:t>
            </a:fld>
            <a:endParaRPr lang="en-US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395624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2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6F46C0B-9082-47E7-B039-6B1FD83BE381}" type="datetime4">
              <a:rPr lang="de-CH" smtClean="0"/>
              <a:t>5. April 2023</a:t>
            </a:fld>
            <a:endParaRPr lang="en-US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9E2C1980-F360-409F-8C22-405AEED4399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03300" y="3651250"/>
            <a:ext cx="10195560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776978B-3B7A-48A0-9AB8-F10BB7D840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3188655" y="3651251"/>
            <a:ext cx="10195560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54651F6-9DB8-4F1A-AD6F-6223CE48DD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22380916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7378758-9D6B-4B22-BFC6-64E31A40F6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/>
              <a:t>Seite </a:t>
            </a:r>
            <a:fld id="{86B585F8-2033-43C0-8CDE-307184B088E2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924801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DA5EDD94-5277-43E2-BF86-94FCF16BAEBC}" type="datetime4">
              <a:rPr lang="de-CH" smtClean="0"/>
              <a:t>5. April 2023</a:t>
            </a:fld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AD564C4-4AE4-4C4E-9FFD-8E6788ED9DC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03300" y="3651250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ECAC9591-E090-4D3D-A518-298893044C7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58286" y="3651251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03AB3AD1-1D39-497C-8737-201C5D6E736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6913270" y="3651251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C0F69A7-5541-4988-8AA8-4CA7046BF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22380916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2C5A187-DF1A-4D8C-9253-0D12266878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/>
              <a:t>Seite </a:t>
            </a:r>
            <a:fld id="{86B585F8-2033-43C0-8CDE-307184B088E2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34202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de-CH" noProof="0"/>
              <a:t>Titel einfügen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B8567AC-D06C-4A8E-AEAB-5FC4F75261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56665885-AEBB-488A-9477-9B36DE8C8005}" type="datetime4">
              <a:rPr lang="de-CH" smtClean="0"/>
              <a:t>5. April 2023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0C56C33-4B2C-40F8-9077-C3EC4BB764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/>
              <a:t>Seite </a:t>
            </a:r>
            <a:fld id="{86B585F8-2033-43C0-8CDE-307184B088E2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559494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3300" y="1361139"/>
            <a:ext cx="22380916" cy="5931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CH" noProof="0"/>
              <a:t>Titel einfüg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7B902962-E8B0-41C5-846E-52B1C3564FAA}" type="datetime4">
              <a:rPr lang="de-CH" smtClean="0"/>
              <a:t>5. April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lang="en-US" sz="1600">
                <a:solidFill>
                  <a:schemeClr val="tx1"/>
                </a:solidFill>
              </a:defRPr>
            </a:lvl1pPr>
          </a:lstStyle>
          <a:p>
            <a:r>
              <a:rPr lang="de-CH"/>
              <a:t>Seite </a:t>
            </a:r>
            <a:fld id="{86B585F8-2033-43C0-8CDE-307184B088E2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22" name="HSLU_Wortmarke_Schwarz_rgb.pdf" descr="HSLU_Wortmarke_Schwarz_rgb.pdf">
            <a:extLst>
              <a:ext uri="{FF2B5EF4-FFF2-40B4-BE49-F238E27FC236}">
                <a16:creationId xmlns:a16="http://schemas.microsoft.com/office/drawing/2014/main" id="{90BD4B69-5471-4A66-BCA9-21E3F205EB2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03300" y="12692259"/>
            <a:ext cx="533401" cy="166491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B555015-DBB3-4012-A862-2BCB9054B9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3300" y="3651250"/>
            <a:ext cx="22380916" cy="8702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Mastertext</a:t>
            </a:r>
            <a:endParaRPr lang="en-US" dirty="0"/>
          </a:p>
          <a:p>
            <a:pPr lvl="0"/>
            <a:r>
              <a:rPr lang="en-US" dirty="0"/>
              <a:t>Copytext</a:t>
            </a:r>
          </a:p>
          <a:p>
            <a:pPr lvl="0"/>
            <a:r>
              <a:rPr lang="en-US" dirty="0" err="1"/>
              <a:t>Textebene</a:t>
            </a:r>
            <a:r>
              <a:rPr lang="en-US" dirty="0"/>
              <a:t> (Level 1)</a:t>
            </a:r>
          </a:p>
          <a:p>
            <a:pPr lvl="1"/>
            <a:r>
              <a:rPr lang="de-CH" noProof="0" dirty="0"/>
              <a:t>Erste Aufzählungsebene (Level 2)</a:t>
            </a:r>
            <a:endParaRPr lang="en-US" dirty="0"/>
          </a:p>
          <a:p>
            <a:pPr lvl="2"/>
            <a:r>
              <a:rPr lang="de-CH" noProof="0" dirty="0"/>
              <a:t>Zweite Aufzählungsebene (Level 3)</a:t>
            </a:r>
            <a:endParaRPr lang="en-US" dirty="0"/>
          </a:p>
          <a:p>
            <a:pPr lvl="3"/>
            <a:r>
              <a:rPr lang="de-CH" noProof="0" dirty="0"/>
              <a:t>Textüberschrift (Level 4)</a:t>
            </a:r>
            <a:endParaRPr lang="en-US" dirty="0"/>
          </a:p>
          <a:p>
            <a:pPr lvl="4"/>
            <a:r>
              <a:rPr lang="de-CH" noProof="0" dirty="0"/>
              <a:t>Kleinere Textebene, 24pt (Level 5)</a:t>
            </a:r>
            <a:endParaRPr lang="en-US" dirty="0"/>
          </a:p>
          <a:p>
            <a:pPr lvl="5"/>
            <a:r>
              <a:rPr lang="de-CH" noProof="0" dirty="0"/>
              <a:t>Kleinere Aufzählungsebene (Level 6)</a:t>
            </a:r>
            <a:endParaRPr lang="en-US" dirty="0"/>
          </a:p>
          <a:p>
            <a:pPr lvl="6"/>
            <a:r>
              <a:rPr lang="de-CH" noProof="0" dirty="0"/>
              <a:t>Kleinere Aufzählungsebene (Level 7)</a:t>
            </a:r>
            <a:endParaRPr lang="en-US" dirty="0"/>
          </a:p>
          <a:p>
            <a:pPr lvl="7"/>
            <a:r>
              <a:rPr lang="de-CH" noProof="0" dirty="0"/>
              <a:t>Textüberschrift (Level 8)</a:t>
            </a:r>
            <a:endParaRPr lang="en-US" dirty="0"/>
          </a:p>
          <a:p>
            <a:pPr lvl="8"/>
            <a:r>
              <a:rPr lang="de-CH" noProof="0" dirty="0"/>
              <a:t>Anmerkungen und Kleingedrucktes (Level 9)</a:t>
            </a:r>
            <a:endParaRPr lang="en-US" dirty="0"/>
          </a:p>
        </p:txBody>
      </p:sp>
      <p:pic>
        <p:nvPicPr>
          <p:cNvPr id="7" name="HSLU_Wortmarke_Schwarz_rgb.pdf" descr="HSLU_Wortmarke_Schwarz_rgb.pdf">
            <a:extLst>
              <a:ext uri="{FF2B5EF4-FFF2-40B4-BE49-F238E27FC236}">
                <a16:creationId xmlns:a16="http://schemas.microsoft.com/office/drawing/2014/main" id="{B081F489-5259-4784-856D-2E0B11985E96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03300" y="12692259"/>
            <a:ext cx="533401" cy="1664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71530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5" r:id="rId2"/>
    <p:sldLayoutId id="2147483684" r:id="rId3"/>
    <p:sldLayoutId id="2147483686" r:id="rId4"/>
    <p:sldLayoutId id="2147483687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</p:sldLayoutIdLst>
  <p:hf sldNum="0" hdr="0"/>
  <p:txStyles>
    <p:titleStyle>
      <a:lvl1pPr algn="l" defTabSz="1828800" rtl="0" eaLnBrk="1" latinLnBrk="0" hangingPunct="1">
        <a:lnSpc>
          <a:spcPct val="11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120000"/>
        </a:lnSpc>
        <a:spcBef>
          <a:spcPts val="2000"/>
        </a:spcBef>
        <a:buFont typeface="Arial" panose="020B0604020202020204" pitchFamily="34" charset="0"/>
        <a:buNone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208" indent="-521208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416" indent="-521208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3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" indent="-274320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" indent="-274320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E358907D-B076-3DB4-CD2D-5145A1251312}"/>
              </a:ext>
            </a:extLst>
          </p:cNvPr>
          <p:cNvSpPr/>
          <p:nvPr/>
        </p:nvSpPr>
        <p:spPr>
          <a:xfrm>
            <a:off x="9258299" y="3606800"/>
            <a:ext cx="5057775" cy="431800"/>
          </a:xfrm>
          <a:prstGeom prst="rect">
            <a:avLst/>
          </a:prstGeom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b="1" dirty="0"/>
              <a:t>Asteroid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410AF9A-9D71-739D-D68C-5E6D9B7EB9F5}"/>
              </a:ext>
            </a:extLst>
          </p:cNvPr>
          <p:cNvSpPr/>
          <p:nvPr/>
        </p:nvSpPr>
        <p:spPr>
          <a:xfrm>
            <a:off x="9258299" y="4038600"/>
            <a:ext cx="5057775" cy="431800"/>
          </a:xfrm>
          <a:prstGeom prst="rect">
            <a:avLst/>
          </a:prstGeom>
          <a:ln w="1905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 err="1"/>
              <a:t>id</a:t>
            </a:r>
            <a:r>
              <a:rPr lang="de-CH" dirty="0"/>
              <a:t>: integ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BF27A69-3B9A-EDEA-7439-D230184DDE46}"/>
              </a:ext>
            </a:extLst>
          </p:cNvPr>
          <p:cNvSpPr/>
          <p:nvPr/>
        </p:nvSpPr>
        <p:spPr>
          <a:xfrm>
            <a:off x="9258299" y="5334000"/>
            <a:ext cx="5057775" cy="4318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 err="1"/>
              <a:t>absolute_magnitude_h</a:t>
            </a:r>
            <a:r>
              <a:rPr lang="de-CH" dirty="0"/>
              <a:t>: doub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875B694-05E0-05ED-13AD-8B52E2B0200F}"/>
              </a:ext>
            </a:extLst>
          </p:cNvPr>
          <p:cNvSpPr/>
          <p:nvPr/>
        </p:nvSpPr>
        <p:spPr>
          <a:xfrm>
            <a:off x="9258299" y="5765800"/>
            <a:ext cx="5057775" cy="4318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 err="1"/>
              <a:t>is_potentially_hazardous_asteroid</a:t>
            </a:r>
            <a:r>
              <a:rPr lang="de-CH" dirty="0"/>
              <a:t>: </a:t>
            </a:r>
            <a:r>
              <a:rPr lang="de-CH" dirty="0" err="1"/>
              <a:t>bool</a:t>
            </a:r>
            <a:endParaRPr lang="de-CH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1292562-FFBC-7F85-5D11-2C2BF149D8EE}"/>
              </a:ext>
            </a:extLst>
          </p:cNvPr>
          <p:cNvSpPr/>
          <p:nvPr/>
        </p:nvSpPr>
        <p:spPr>
          <a:xfrm>
            <a:off x="9258299" y="6197600"/>
            <a:ext cx="5057775" cy="4318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 err="1"/>
              <a:t>is_sentry_obj</a:t>
            </a:r>
            <a:r>
              <a:rPr lang="de-CH" dirty="0"/>
              <a:t>: </a:t>
            </a:r>
            <a:r>
              <a:rPr lang="de-CH" dirty="0" err="1"/>
              <a:t>bool</a:t>
            </a:r>
            <a:endParaRPr lang="de-CH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0DFDF47-B391-3C8E-67DE-AAE268CE1DCF}"/>
              </a:ext>
            </a:extLst>
          </p:cNvPr>
          <p:cNvSpPr/>
          <p:nvPr/>
        </p:nvSpPr>
        <p:spPr>
          <a:xfrm>
            <a:off x="9258299" y="4470400"/>
            <a:ext cx="5057775" cy="4318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 err="1"/>
              <a:t>name</a:t>
            </a:r>
            <a:r>
              <a:rPr lang="de-CH" dirty="0"/>
              <a:t>: </a:t>
            </a:r>
            <a:r>
              <a:rPr lang="de-CH" dirty="0" err="1"/>
              <a:t>string</a:t>
            </a:r>
            <a:endParaRPr lang="de-CH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7783E0F-B1B7-7C7E-B928-F2FD0D5783B1}"/>
              </a:ext>
            </a:extLst>
          </p:cNvPr>
          <p:cNvSpPr/>
          <p:nvPr/>
        </p:nvSpPr>
        <p:spPr>
          <a:xfrm>
            <a:off x="9258299" y="4902200"/>
            <a:ext cx="5057775" cy="4318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 err="1"/>
              <a:t>nasa_jpl_url</a:t>
            </a:r>
            <a:r>
              <a:rPr lang="de-CH" dirty="0"/>
              <a:t>: </a:t>
            </a:r>
            <a:r>
              <a:rPr lang="de-CH" dirty="0" err="1"/>
              <a:t>string</a:t>
            </a:r>
            <a:endParaRPr lang="de-CH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DA48D30-5563-412D-EA95-59B2DAD8A6EA}"/>
              </a:ext>
            </a:extLst>
          </p:cNvPr>
          <p:cNvSpPr/>
          <p:nvPr/>
        </p:nvSpPr>
        <p:spPr>
          <a:xfrm>
            <a:off x="7659685" y="7372356"/>
            <a:ext cx="3886202" cy="431800"/>
          </a:xfrm>
          <a:prstGeom prst="rect">
            <a:avLst/>
          </a:prstGeom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b="1" dirty="0" err="1"/>
              <a:t>Estimated_diameter</a:t>
            </a:r>
            <a:endParaRPr lang="de-CH" b="1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C341A369-F309-308B-4EA2-0FE1F35C28F1}"/>
              </a:ext>
            </a:extLst>
          </p:cNvPr>
          <p:cNvSpPr/>
          <p:nvPr/>
        </p:nvSpPr>
        <p:spPr>
          <a:xfrm>
            <a:off x="2907502" y="8672832"/>
            <a:ext cx="4141790" cy="431800"/>
          </a:xfrm>
          <a:prstGeom prst="rect">
            <a:avLst/>
          </a:prstGeom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/>
              <a:t>Kilometers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2292514-05AF-254F-D9C1-304A33020E9D}"/>
              </a:ext>
            </a:extLst>
          </p:cNvPr>
          <p:cNvSpPr/>
          <p:nvPr/>
        </p:nvSpPr>
        <p:spPr>
          <a:xfrm>
            <a:off x="7404097" y="8667752"/>
            <a:ext cx="4141790" cy="431800"/>
          </a:xfrm>
          <a:prstGeom prst="rect">
            <a:avLst/>
          </a:prstGeom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/>
              <a:t>Meter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9E67B545-5CA0-E06B-BE98-1ECF0A5E90B4}"/>
              </a:ext>
            </a:extLst>
          </p:cNvPr>
          <p:cNvSpPr/>
          <p:nvPr/>
        </p:nvSpPr>
        <p:spPr>
          <a:xfrm>
            <a:off x="12003879" y="7372352"/>
            <a:ext cx="4141790" cy="431800"/>
          </a:xfrm>
          <a:prstGeom prst="rect">
            <a:avLst/>
          </a:prstGeom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b="1" dirty="0" err="1"/>
              <a:t>close_approach_data</a:t>
            </a:r>
            <a:endParaRPr lang="de-CH" b="1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3E208A1D-FB64-F115-7462-B62BE6AEE728}"/>
              </a:ext>
            </a:extLst>
          </p:cNvPr>
          <p:cNvSpPr/>
          <p:nvPr/>
        </p:nvSpPr>
        <p:spPr>
          <a:xfrm>
            <a:off x="12003879" y="7804152"/>
            <a:ext cx="4141790" cy="4318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 err="1"/>
              <a:t>close_approach_date</a:t>
            </a:r>
            <a:r>
              <a:rPr lang="de-CH" dirty="0"/>
              <a:t>: </a:t>
            </a:r>
            <a:r>
              <a:rPr lang="de-CH" dirty="0" err="1"/>
              <a:t>string</a:t>
            </a:r>
            <a:endParaRPr lang="de-CH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1C5A2AA-A572-577A-C1A4-26B2A56A8134}"/>
              </a:ext>
            </a:extLst>
          </p:cNvPr>
          <p:cNvSpPr/>
          <p:nvPr/>
        </p:nvSpPr>
        <p:spPr>
          <a:xfrm>
            <a:off x="12003879" y="8235952"/>
            <a:ext cx="4141790" cy="4318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 err="1"/>
              <a:t>close_approach_date_full</a:t>
            </a:r>
            <a:r>
              <a:rPr lang="de-CH" dirty="0"/>
              <a:t>: </a:t>
            </a:r>
            <a:r>
              <a:rPr lang="de-CH" dirty="0" err="1"/>
              <a:t>string</a:t>
            </a:r>
            <a:endParaRPr lang="de-CH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FD80F4C4-CC6A-8193-3399-EF85A7FCDA04}"/>
              </a:ext>
            </a:extLst>
          </p:cNvPr>
          <p:cNvSpPr/>
          <p:nvPr/>
        </p:nvSpPr>
        <p:spPr>
          <a:xfrm>
            <a:off x="12003879" y="8667752"/>
            <a:ext cx="4141790" cy="4318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 err="1"/>
              <a:t>orbiting_body</a:t>
            </a:r>
            <a:r>
              <a:rPr lang="de-CH" dirty="0"/>
              <a:t>: </a:t>
            </a:r>
            <a:r>
              <a:rPr lang="de-CH" dirty="0" err="1"/>
              <a:t>string</a:t>
            </a:r>
            <a:endParaRPr lang="de-CH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E1A35EA-1182-AFC3-BE0B-30524B7F4790}"/>
              </a:ext>
            </a:extLst>
          </p:cNvPr>
          <p:cNvSpPr/>
          <p:nvPr/>
        </p:nvSpPr>
        <p:spPr>
          <a:xfrm>
            <a:off x="12003879" y="9867908"/>
            <a:ext cx="3152776" cy="431800"/>
          </a:xfrm>
          <a:prstGeom prst="rect">
            <a:avLst/>
          </a:prstGeom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b="1" dirty="0" err="1"/>
              <a:t>miss_distance</a:t>
            </a:r>
            <a:endParaRPr lang="de-CH" b="1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65C1C47-865D-88F6-059C-9533B093EB03}"/>
              </a:ext>
            </a:extLst>
          </p:cNvPr>
          <p:cNvSpPr/>
          <p:nvPr/>
        </p:nvSpPr>
        <p:spPr>
          <a:xfrm>
            <a:off x="12003879" y="10299708"/>
            <a:ext cx="3152776" cy="4318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 err="1"/>
              <a:t>kilometers</a:t>
            </a:r>
            <a:r>
              <a:rPr lang="de-CH" dirty="0"/>
              <a:t>: doubl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713A2D5-AE6C-5158-1833-4ACDF199BD01}"/>
              </a:ext>
            </a:extLst>
          </p:cNvPr>
          <p:cNvSpPr/>
          <p:nvPr/>
        </p:nvSpPr>
        <p:spPr>
          <a:xfrm>
            <a:off x="12003879" y="10731508"/>
            <a:ext cx="3152776" cy="4318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/>
              <a:t>Meters: double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92A6A53-00DE-937C-CE2F-388E0220F73E}"/>
              </a:ext>
            </a:extLst>
          </p:cNvPr>
          <p:cNvSpPr/>
          <p:nvPr/>
        </p:nvSpPr>
        <p:spPr>
          <a:xfrm>
            <a:off x="15621002" y="9867916"/>
            <a:ext cx="4141789" cy="431800"/>
          </a:xfrm>
          <a:prstGeom prst="rect">
            <a:avLst/>
          </a:prstGeom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b="1" dirty="0" err="1"/>
              <a:t>relativ_velocity</a:t>
            </a:r>
            <a:r>
              <a:rPr lang="de-CH" b="1" dirty="0"/>
              <a:t>: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B6532F1-3DA2-3B92-CC89-2B0FEA8707DB}"/>
              </a:ext>
            </a:extLst>
          </p:cNvPr>
          <p:cNvSpPr/>
          <p:nvPr/>
        </p:nvSpPr>
        <p:spPr>
          <a:xfrm>
            <a:off x="15621002" y="10299716"/>
            <a:ext cx="4141789" cy="4318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 err="1"/>
              <a:t>kilometers_per_hour</a:t>
            </a:r>
            <a:r>
              <a:rPr lang="de-CH" dirty="0"/>
              <a:t>: double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FAE1D228-8965-2265-70E5-AE2A2D00DB9B}"/>
              </a:ext>
            </a:extLst>
          </p:cNvPr>
          <p:cNvSpPr/>
          <p:nvPr/>
        </p:nvSpPr>
        <p:spPr>
          <a:xfrm>
            <a:off x="15621002" y="10731516"/>
            <a:ext cx="4141789" cy="4318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 err="1"/>
              <a:t>kilometers_per_second</a:t>
            </a:r>
            <a:r>
              <a:rPr lang="de-CH" dirty="0"/>
              <a:t>: double</a:t>
            </a: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20C96D0A-8B50-C059-FF51-8181CAA2675D}"/>
              </a:ext>
            </a:extLst>
          </p:cNvPr>
          <p:cNvCxnSpPr>
            <a:stCxn id="10" idx="2"/>
            <a:endCxn id="16" idx="0"/>
          </p:cNvCxnSpPr>
          <p:nvPr/>
        </p:nvCxnSpPr>
        <p:spPr>
          <a:xfrm flipH="1">
            <a:off x="9602786" y="6629400"/>
            <a:ext cx="2184401" cy="742956"/>
          </a:xfrm>
          <a:prstGeom prst="straightConnector1">
            <a:avLst/>
          </a:prstGeom>
          <a:ln>
            <a:tailEnd type="triangle" w="lg" len="lg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6AABA3D6-BF31-E3D9-EBC4-564DDF0663E9}"/>
              </a:ext>
            </a:extLst>
          </p:cNvPr>
          <p:cNvCxnSpPr>
            <a:cxnSpLocks/>
            <a:stCxn id="26" idx="2"/>
            <a:endCxn id="32" idx="0"/>
          </p:cNvCxnSpPr>
          <p:nvPr/>
        </p:nvCxnSpPr>
        <p:spPr>
          <a:xfrm>
            <a:off x="14074774" y="9099552"/>
            <a:ext cx="3617123" cy="768364"/>
          </a:xfrm>
          <a:prstGeom prst="straightConnector1">
            <a:avLst/>
          </a:prstGeom>
          <a:ln>
            <a:tailEnd type="triangle" w="lg" len="lg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D4D1725E-5B13-E663-433C-73BF3AB268CD}"/>
              </a:ext>
            </a:extLst>
          </p:cNvPr>
          <p:cNvCxnSpPr>
            <a:cxnSpLocks/>
            <a:stCxn id="26" idx="2"/>
            <a:endCxn id="28" idx="0"/>
          </p:cNvCxnSpPr>
          <p:nvPr/>
        </p:nvCxnSpPr>
        <p:spPr>
          <a:xfrm flipH="1">
            <a:off x="13580267" y="9099552"/>
            <a:ext cx="494507" cy="768356"/>
          </a:xfrm>
          <a:prstGeom prst="straightConnector1">
            <a:avLst/>
          </a:prstGeom>
          <a:ln>
            <a:tailEnd type="triangle" w="lg" len="lg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54E1D3A3-42DA-F628-A568-D5FE18CFD104}"/>
              </a:ext>
            </a:extLst>
          </p:cNvPr>
          <p:cNvCxnSpPr>
            <a:cxnSpLocks/>
            <a:stCxn id="10" idx="2"/>
            <a:endCxn id="23" idx="0"/>
          </p:cNvCxnSpPr>
          <p:nvPr/>
        </p:nvCxnSpPr>
        <p:spPr>
          <a:xfrm>
            <a:off x="11787187" y="6629400"/>
            <a:ext cx="2287587" cy="742952"/>
          </a:xfrm>
          <a:prstGeom prst="straightConnector1">
            <a:avLst/>
          </a:prstGeom>
          <a:ln>
            <a:tailEnd type="triangle" w="lg" len="lg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9" name="Rechteck 48">
            <a:extLst>
              <a:ext uri="{FF2B5EF4-FFF2-40B4-BE49-F238E27FC236}">
                <a16:creationId xmlns:a16="http://schemas.microsoft.com/office/drawing/2014/main" id="{B9222270-7FF6-4C83-A04F-6F6B0D1B5A97}"/>
              </a:ext>
            </a:extLst>
          </p:cNvPr>
          <p:cNvSpPr/>
          <p:nvPr/>
        </p:nvSpPr>
        <p:spPr>
          <a:xfrm>
            <a:off x="9258299" y="3606800"/>
            <a:ext cx="5057775" cy="3022600"/>
          </a:xfrm>
          <a:prstGeom prst="rect">
            <a:avLst/>
          </a:prstGeom>
          <a:noFill/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D0750BC-BEAB-B93C-4412-7343FA9F0AA9}"/>
              </a:ext>
            </a:extLst>
          </p:cNvPr>
          <p:cNvSpPr/>
          <p:nvPr/>
        </p:nvSpPr>
        <p:spPr>
          <a:xfrm>
            <a:off x="12003879" y="7372352"/>
            <a:ext cx="4141789" cy="1727200"/>
          </a:xfrm>
          <a:prstGeom prst="rect">
            <a:avLst/>
          </a:prstGeom>
          <a:noFill/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BD3BAC63-10C0-D50E-0E35-CAACE993D5A0}"/>
              </a:ext>
            </a:extLst>
          </p:cNvPr>
          <p:cNvSpPr/>
          <p:nvPr/>
        </p:nvSpPr>
        <p:spPr>
          <a:xfrm>
            <a:off x="15621002" y="9867916"/>
            <a:ext cx="4141789" cy="1295400"/>
          </a:xfrm>
          <a:prstGeom prst="rect">
            <a:avLst/>
          </a:prstGeom>
          <a:noFill/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B000021-C523-7721-952F-E7DD067E9CCD}"/>
              </a:ext>
            </a:extLst>
          </p:cNvPr>
          <p:cNvSpPr/>
          <p:nvPr/>
        </p:nvSpPr>
        <p:spPr>
          <a:xfrm>
            <a:off x="12003879" y="9867908"/>
            <a:ext cx="3152776" cy="1295400"/>
          </a:xfrm>
          <a:prstGeom prst="rect">
            <a:avLst/>
          </a:prstGeom>
          <a:noFill/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459A163-6134-1B33-CE83-5EC6B63CBBF7}"/>
              </a:ext>
            </a:extLst>
          </p:cNvPr>
          <p:cNvSpPr/>
          <p:nvPr/>
        </p:nvSpPr>
        <p:spPr>
          <a:xfrm>
            <a:off x="7404096" y="9099552"/>
            <a:ext cx="4141789" cy="4318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 err="1"/>
              <a:t>estimated_diameter_min</a:t>
            </a:r>
            <a:r>
              <a:rPr lang="de-CH" dirty="0"/>
              <a:t>: dou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AE22F6C-C9BB-8FC2-8A9D-722132BDE45E}"/>
              </a:ext>
            </a:extLst>
          </p:cNvPr>
          <p:cNvSpPr/>
          <p:nvPr/>
        </p:nvSpPr>
        <p:spPr>
          <a:xfrm>
            <a:off x="2907503" y="9110984"/>
            <a:ext cx="4141789" cy="4318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 err="1"/>
              <a:t>estimated_diameter_min</a:t>
            </a:r>
            <a:r>
              <a:rPr lang="de-CH" dirty="0"/>
              <a:t>: double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8F35B9B5-73CB-C7A3-E7D0-13603154544C}"/>
              </a:ext>
            </a:extLst>
          </p:cNvPr>
          <p:cNvSpPr/>
          <p:nvPr/>
        </p:nvSpPr>
        <p:spPr>
          <a:xfrm>
            <a:off x="7404096" y="9542788"/>
            <a:ext cx="4141789" cy="4318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 err="1"/>
              <a:t>estimated_diameter_max</a:t>
            </a:r>
            <a:r>
              <a:rPr lang="de-CH" dirty="0"/>
              <a:t>: double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C5A1941-11E2-278A-4E64-E21DDA5F05AD}"/>
              </a:ext>
            </a:extLst>
          </p:cNvPr>
          <p:cNvSpPr/>
          <p:nvPr/>
        </p:nvSpPr>
        <p:spPr>
          <a:xfrm>
            <a:off x="2907503" y="9554220"/>
            <a:ext cx="4141789" cy="4318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CH" dirty="0" err="1"/>
              <a:t>estimated_diameter_max</a:t>
            </a:r>
            <a:r>
              <a:rPr lang="de-CH" dirty="0"/>
              <a:t>: double</a:t>
            </a: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00D57E53-D262-C29F-0CE0-1C107C772362}"/>
              </a:ext>
            </a:extLst>
          </p:cNvPr>
          <p:cNvCxnSpPr>
            <a:cxnSpLocks/>
            <a:stCxn id="16" idx="2"/>
            <a:endCxn id="21" idx="0"/>
          </p:cNvCxnSpPr>
          <p:nvPr/>
        </p:nvCxnSpPr>
        <p:spPr>
          <a:xfrm flipH="1">
            <a:off x="9474992" y="7804156"/>
            <a:ext cx="127794" cy="863596"/>
          </a:xfrm>
          <a:prstGeom prst="straightConnector1">
            <a:avLst/>
          </a:prstGeom>
          <a:ln>
            <a:tailEnd type="triangle" w="lg" len="lg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472E13C1-5B11-CCD0-459F-1D77AF12C262}"/>
              </a:ext>
            </a:extLst>
          </p:cNvPr>
          <p:cNvCxnSpPr>
            <a:cxnSpLocks/>
            <a:stCxn id="16" idx="2"/>
            <a:endCxn id="17" idx="0"/>
          </p:cNvCxnSpPr>
          <p:nvPr/>
        </p:nvCxnSpPr>
        <p:spPr>
          <a:xfrm flipH="1">
            <a:off x="4978397" y="7804156"/>
            <a:ext cx="4624389" cy="868676"/>
          </a:xfrm>
          <a:prstGeom prst="straightConnector1">
            <a:avLst/>
          </a:prstGeom>
          <a:ln>
            <a:tailEnd type="triangle" w="lg" len="lg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957B2E29-C4C4-D501-2D89-17DAB5EC0585}"/>
              </a:ext>
            </a:extLst>
          </p:cNvPr>
          <p:cNvSpPr/>
          <p:nvPr/>
        </p:nvSpPr>
        <p:spPr>
          <a:xfrm>
            <a:off x="7404096" y="8664812"/>
            <a:ext cx="4141789" cy="1301280"/>
          </a:xfrm>
          <a:prstGeom prst="rect">
            <a:avLst/>
          </a:prstGeom>
          <a:noFill/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EAFCBE9-2EFA-E4C6-15E5-581D75B4707E}"/>
              </a:ext>
            </a:extLst>
          </p:cNvPr>
          <p:cNvSpPr/>
          <p:nvPr/>
        </p:nvSpPr>
        <p:spPr>
          <a:xfrm>
            <a:off x="2907500" y="8684740"/>
            <a:ext cx="4141789" cy="1301280"/>
          </a:xfrm>
          <a:prstGeom prst="rect">
            <a:avLst/>
          </a:prstGeom>
          <a:noFill/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941435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J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xCZNRc4pnNFpI+jT3EADnAFAAAAAAADAAAAAAADAAAAAwADAAAAAAADAAAAAwADAAAAAAD///////8DAAIA////////BAAAAAMAEAALCxjIeq1GzkmF+aDU7Rx+X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CZNRc4pnNFpI+jT3EADnADRGF0YQAbAAAABExpbmtlZFNoYXBlRGF0YQAFAAAAAAACTmFtZQAZAAAATGlua2VkU2hhcGVzRGF0YVByb3BlcnR5ABBWZXJzaW9uAAAAAAAJTGFzdFdyaXRlAHKZdCJ9AQAAAAEA/////50AnQAAAAVfaWQAEAAAAAQLGMh6rUbOSYX5oNTtHH5dA0RhdGEAKgAAAAhQcmVzZW50YXRpb25TY2FubmVkRm9yTGlua2VkU2hhcGVzAAEAAk5hbWUAJAAAAExpbmtlZFNoYXBlUHJlc2VudGF0aW9uU2V0dGluZ3NEYXRhABBWZXJzaW9uAAAAAAAJTGFzdFdyaXRlAKyZdCJ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HSLU Design">
  <a:themeElements>
    <a:clrScheme name="HSLU Farben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77C5D8"/>
      </a:accent1>
      <a:accent2>
        <a:srgbClr val="ADCA2A"/>
      </a:accent2>
      <a:accent3>
        <a:srgbClr val="EC5A7A"/>
      </a:accent3>
      <a:accent4>
        <a:srgbClr val="FCC300"/>
      </a:accent4>
      <a:accent5>
        <a:srgbClr val="F0F0F0"/>
      </a:accent5>
      <a:accent6>
        <a:srgbClr val="808080"/>
      </a:accent6>
      <a:hlink>
        <a:srgbClr val="206A8A"/>
      </a:hlink>
      <a:folHlink>
        <a:srgbClr val="9F304D"/>
      </a:folHlink>
    </a:clrScheme>
    <a:fontScheme name="HSLU">
      <a:majorFont>
        <a:latin typeface="Verdana"/>
        <a:ea typeface="Segoe UI Semibold"/>
        <a:cs typeface="Segoe UI Semibold"/>
      </a:majorFont>
      <a:minorFont>
        <a:latin typeface="Verdana"/>
        <a:ea typeface="Segoe UI Light"/>
        <a:cs typeface="Segoe UI Light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.potx" id="{579E760A-03E1-4A86-861E-A95814C3E139}" vid="{E1F98CEF-D58E-43C5-BF2B-0C473FEAB0E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756FDFCB57D0948B915F9BF5E819397" ma:contentTypeVersion="13" ma:contentTypeDescription="Ein neues Dokument erstellen." ma:contentTypeScope="" ma:versionID="7d9c0cc1dbb0c643df8b274555674628">
  <xsd:schema xmlns:xsd="http://www.w3.org/2001/XMLSchema" xmlns:xs="http://www.w3.org/2001/XMLSchema" xmlns:p="http://schemas.microsoft.com/office/2006/metadata/properties" xmlns:ns2="bd5c1ef4-a5a8-4f60-b734-518beb01c7b7" xmlns:ns3="9a7d57e2-a6f6-4353-bdc3-995d0b2e54a4" targetNamespace="http://schemas.microsoft.com/office/2006/metadata/properties" ma:root="true" ma:fieldsID="e815778459cc07df9524752950c0824a" ns2:_="" ns3:_="">
    <xsd:import namespace="bd5c1ef4-a5a8-4f60-b734-518beb01c7b7"/>
    <xsd:import namespace="9a7d57e2-a6f6-4353-bdc3-995d0b2e54a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5c1ef4-a5a8-4f60-b734-518beb01c7b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7d57e2-a6f6-4353-bdc3-995d0b2e54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A348821-2DE9-48C1-97F6-4DC5729F19B6}">
  <ds:schemaRefs>
    <ds:schemaRef ds:uri="9a7d57e2-a6f6-4353-bdc3-995d0b2e54a4"/>
    <ds:schemaRef ds:uri="bd5c1ef4-a5a8-4f60-b734-518beb01c7b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32ADD14-27E2-4CBB-84C3-E07DFBE08BF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1B22379-68EE-4294-A662-CCA510E4744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3</Words>
  <Application>Microsoft Office PowerPoint</Application>
  <PresentationFormat>Benutzerdefiniert</PresentationFormat>
  <Paragraphs>24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Symbol</vt:lpstr>
      <vt:lpstr>Verdana</vt:lpstr>
      <vt:lpstr>Wingdings 3</vt:lpstr>
      <vt:lpstr>HSLU Design</vt:lpstr>
      <vt:lpstr>PowerPoint-Präsentation</vt:lpstr>
    </vt:vector>
  </TitlesOfParts>
  <Company>Hochschule Luzer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endry Reto HSLU T&amp;A</dc:creator>
  <cp:lastModifiedBy>Hendry Reto HSLU T&amp;A</cp:lastModifiedBy>
  <cp:revision>5</cp:revision>
  <dcterms:created xsi:type="dcterms:W3CDTF">2023-03-31T19:21:33Z</dcterms:created>
  <dcterms:modified xsi:type="dcterms:W3CDTF">2023-04-05T22:07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56FDFCB57D0948B915F9BF5E819397</vt:lpwstr>
  </property>
  <property fmtid="{D5CDD505-2E9C-101B-9397-08002B2CF9AE}" pid="3" name="MSIP_Label_e8b0afbd-3cf7-4707-aee4-8dc9d855de29_Enabled">
    <vt:lpwstr>true</vt:lpwstr>
  </property>
  <property fmtid="{D5CDD505-2E9C-101B-9397-08002B2CF9AE}" pid="4" name="MSIP_Label_e8b0afbd-3cf7-4707-aee4-8dc9d855de29_SetDate">
    <vt:lpwstr>2022-01-11T12:28:50Z</vt:lpwstr>
  </property>
  <property fmtid="{D5CDD505-2E9C-101B-9397-08002B2CF9AE}" pid="5" name="MSIP_Label_e8b0afbd-3cf7-4707-aee4-8dc9d855de29_Method">
    <vt:lpwstr>Standard</vt:lpwstr>
  </property>
  <property fmtid="{D5CDD505-2E9C-101B-9397-08002B2CF9AE}" pid="6" name="MSIP_Label_e8b0afbd-3cf7-4707-aee4-8dc9d855de29_Name">
    <vt:lpwstr>intern</vt:lpwstr>
  </property>
  <property fmtid="{D5CDD505-2E9C-101B-9397-08002B2CF9AE}" pid="7" name="MSIP_Label_e8b0afbd-3cf7-4707-aee4-8dc9d855de29_SiteId">
    <vt:lpwstr>75a34008-d7d1-4924-8e78-31fea86f6e68</vt:lpwstr>
  </property>
  <property fmtid="{D5CDD505-2E9C-101B-9397-08002B2CF9AE}" pid="8" name="MSIP_Label_e8b0afbd-3cf7-4707-aee4-8dc9d855de29_ActionId">
    <vt:lpwstr>6e64bffc-f39b-4bc3-8077-acc17689872b</vt:lpwstr>
  </property>
  <property fmtid="{D5CDD505-2E9C-101B-9397-08002B2CF9AE}" pid="9" name="MSIP_Label_e8b0afbd-3cf7-4707-aee4-8dc9d855de29_ContentBits">
    <vt:lpwstr>0</vt:lpwstr>
  </property>
</Properties>
</file>